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145704479" r:id="rId2"/>
    <p:sldId id="2145704481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5314DA-7092-431F-8181-E6865D475951}" v="15" dt="2025-03-28T10:34:08.341"/>
    <p1510:client id="{BB6577B5-B756-4A95-C7EE-7CD5C3CB9594}" v="13" dt="2025-03-28T09:05:26.84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5" d="100"/>
          <a:sy n="55" d="100"/>
        </p:scale>
        <p:origin x="1072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3471829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66899" y="4087968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466899" y="4600774"/>
            <a:ext cx="11258204" cy="1425857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083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503876" y="212237"/>
            <a:ext cx="545053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503876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503876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444" y="6317610"/>
            <a:ext cx="1521331" cy="329789"/>
          </a:xfrm>
          <a:prstGeom prst="rect">
            <a:avLst/>
          </a:prstGeom>
        </p:spPr>
      </p:pic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6503875" y="4270272"/>
            <a:ext cx="2639005" cy="1750856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r>
              <a:rPr lang="en-US"/>
              <a:t>Click here to add a pictur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9315405" y="4270272"/>
            <a:ext cx="2639005" cy="1750856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r>
              <a:rPr lang="en-US"/>
              <a:t>Click here to add a picture</a:t>
            </a:r>
          </a:p>
        </p:txBody>
      </p:sp>
    </p:spTree>
    <p:extLst>
      <p:ext uri="{BB962C8B-B14F-4D97-AF65-F5344CB8AC3E}">
        <p14:creationId xmlns:p14="http://schemas.microsoft.com/office/powerpoint/2010/main" val="19880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9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1343618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20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540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982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649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961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6858000"/>
          </a:xfrm>
          <a:prstGeom prst="rect">
            <a:avLst/>
          </a:prstGeom>
          <a:solidFill>
            <a:schemeClr val="accent6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5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391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6096249" y="0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99" y="3426308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1036395" y="1142516"/>
            <a:ext cx="400953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1036395" y="1758655"/>
            <a:ext cx="4009538" cy="18503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1036395" y="2106946"/>
            <a:ext cx="4009538" cy="653609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20" name="Title Placeholder 1"/>
          <p:cNvSpPr txBox="1">
            <a:spLocks/>
          </p:cNvSpPr>
          <p:nvPr userDrawn="1"/>
        </p:nvSpPr>
        <p:spPr bwMode="gray">
          <a:xfrm>
            <a:off x="7132146" y="4568823"/>
            <a:ext cx="400953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28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539"/>
              <a:t>ENTER HEADER TEXT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7132146" y="5184962"/>
            <a:ext cx="4009538" cy="18503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7132146" y="5533254"/>
            <a:ext cx="4009538" cy="653609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723040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7132146" y="1142516"/>
            <a:ext cx="400953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7132146" y="1758655"/>
            <a:ext cx="4009538" cy="18503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7132146" y="2106946"/>
            <a:ext cx="4009538" cy="653609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0" name="Title Placeholder 1"/>
          <p:cNvSpPr txBox="1">
            <a:spLocks/>
          </p:cNvSpPr>
          <p:nvPr userDrawn="1"/>
        </p:nvSpPr>
        <p:spPr bwMode="gray">
          <a:xfrm>
            <a:off x="1044303" y="4568823"/>
            <a:ext cx="400953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28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539"/>
              <a:t>ENTER HEADER TEXT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1044303" y="5184962"/>
            <a:ext cx="4009538" cy="185033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1044303" y="5533254"/>
            <a:ext cx="4009538" cy="653609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-7410" y="0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088341" y="3426308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3517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1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-7410" y="0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6088341" y="0"/>
            <a:ext cx="6095751" cy="3426308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 baseline="0">
                <a:solidFill>
                  <a:schemeClr val="accent5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6088341" y="3426308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3748579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4356621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7" y="4885153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515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1648" y="3471829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l"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4087968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4600774"/>
            <a:ext cx="11258204" cy="1425857"/>
          </a:xfrm>
          <a:prstGeom prst="rect">
            <a:avLst/>
          </a:prstGeom>
        </p:spPr>
        <p:txBody>
          <a:bodyPr lIns="0" tIns="0" rIns="0" bIns="0" numCol="2" spcCol="18000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064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088341" y="0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0" y="3431693"/>
            <a:ext cx="6095751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6088341" y="3426308"/>
            <a:ext cx="6095751" cy="3426308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 baseline="0">
                <a:solidFill>
                  <a:schemeClr val="accent5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191231" y="338971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190653" y="947013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190653" y="1475544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327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972313" y="1478731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er copy (Arial, 12pt, Bold)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974821" y="1868996"/>
            <a:ext cx="3264998" cy="32651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463501" y="1868996"/>
            <a:ext cx="3264998" cy="32651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7952181" y="1868996"/>
            <a:ext cx="3264998" cy="32651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463501" y="1478731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er copy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952180" y="1478731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Header copy (Arial, 12pt, Bold)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5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72313" y="5297424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463501" y="5297423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8" name="Text Placeholder 21"/>
          <p:cNvSpPr>
            <a:spLocks noGrp="1"/>
          </p:cNvSpPr>
          <p:nvPr>
            <p:ph type="body" sz="quarter" idx="21" hasCustomPrompt="1"/>
          </p:nvPr>
        </p:nvSpPr>
        <p:spPr>
          <a:xfrm>
            <a:off x="7952180" y="5297423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773335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974821" y="1337016"/>
            <a:ext cx="3264998" cy="379714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463501" y="1337016"/>
            <a:ext cx="3264998" cy="379714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7952181" y="1337016"/>
            <a:ext cx="3264998" cy="379714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3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72313" y="5297424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463501" y="5297423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21" hasCustomPrompt="1"/>
          </p:nvPr>
        </p:nvSpPr>
        <p:spPr>
          <a:xfrm>
            <a:off x="7952180" y="5297423"/>
            <a:ext cx="3264999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108387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3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799796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0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799796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4" name="Picture Placeholder 7"/>
          <p:cNvSpPr>
            <a:spLocks noGrp="1"/>
          </p:cNvSpPr>
          <p:nvPr>
            <p:ph type="pic" sz="quarter" idx="22"/>
          </p:nvPr>
        </p:nvSpPr>
        <p:spPr>
          <a:xfrm>
            <a:off x="3528172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23"/>
          </p:nvPr>
        </p:nvSpPr>
        <p:spPr>
          <a:xfrm>
            <a:off x="6256548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24"/>
          </p:nvPr>
        </p:nvSpPr>
        <p:spPr>
          <a:xfrm>
            <a:off x="8984926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8" name="Text Placeholder 21"/>
          <p:cNvSpPr>
            <a:spLocks noGrp="1"/>
          </p:cNvSpPr>
          <p:nvPr>
            <p:ph type="body" sz="quarter" idx="25" hasCustomPrompt="1"/>
          </p:nvPr>
        </p:nvSpPr>
        <p:spPr>
          <a:xfrm>
            <a:off x="3528171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9" name="Text Placeholder 21"/>
          <p:cNvSpPr>
            <a:spLocks noGrp="1"/>
          </p:cNvSpPr>
          <p:nvPr>
            <p:ph type="body" sz="quarter" idx="26" hasCustomPrompt="1"/>
          </p:nvPr>
        </p:nvSpPr>
        <p:spPr>
          <a:xfrm>
            <a:off x="6256548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20" name="Text Placeholder 21"/>
          <p:cNvSpPr>
            <a:spLocks noGrp="1"/>
          </p:cNvSpPr>
          <p:nvPr>
            <p:ph type="body" sz="quarter" idx="27" hasCustomPrompt="1"/>
          </p:nvPr>
        </p:nvSpPr>
        <p:spPr>
          <a:xfrm>
            <a:off x="8984926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622376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3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27541" y="175068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8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327541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5" name="Picture Placeholder 7"/>
          <p:cNvSpPr>
            <a:spLocks noGrp="1"/>
          </p:cNvSpPr>
          <p:nvPr>
            <p:ph type="pic" sz="quarter" idx="28"/>
          </p:nvPr>
        </p:nvSpPr>
        <p:spPr>
          <a:xfrm>
            <a:off x="2295495" y="2276958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29"/>
          </p:nvPr>
        </p:nvSpPr>
        <p:spPr>
          <a:xfrm>
            <a:off x="4263449" y="175068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30"/>
          </p:nvPr>
        </p:nvSpPr>
        <p:spPr>
          <a:xfrm>
            <a:off x="6231403" y="227695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31"/>
          </p:nvPr>
        </p:nvSpPr>
        <p:spPr>
          <a:xfrm>
            <a:off x="8199356" y="1750686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32"/>
          </p:nvPr>
        </p:nvSpPr>
        <p:spPr>
          <a:xfrm>
            <a:off x="10167311" y="227695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33" hasCustomPrompt="1"/>
          </p:nvPr>
        </p:nvSpPr>
        <p:spPr>
          <a:xfrm>
            <a:off x="4263448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34" hasCustomPrompt="1"/>
          </p:nvPr>
        </p:nvSpPr>
        <p:spPr>
          <a:xfrm>
            <a:off x="8199355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35" hasCustomPrompt="1"/>
          </p:nvPr>
        </p:nvSpPr>
        <p:spPr>
          <a:xfrm>
            <a:off x="2295495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36" hasCustomPrompt="1"/>
          </p:nvPr>
        </p:nvSpPr>
        <p:spPr>
          <a:xfrm>
            <a:off x="6231402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37" hasCustomPrompt="1"/>
          </p:nvPr>
        </p:nvSpPr>
        <p:spPr>
          <a:xfrm>
            <a:off x="10167311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620354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799796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8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799796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22"/>
          </p:nvPr>
        </p:nvSpPr>
        <p:spPr>
          <a:xfrm>
            <a:off x="3528172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23"/>
          </p:nvPr>
        </p:nvSpPr>
        <p:spPr>
          <a:xfrm>
            <a:off x="6256548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24"/>
          </p:nvPr>
        </p:nvSpPr>
        <p:spPr>
          <a:xfrm>
            <a:off x="8984926" y="1529184"/>
            <a:ext cx="2411202" cy="35755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25" hasCustomPrompt="1"/>
          </p:nvPr>
        </p:nvSpPr>
        <p:spPr>
          <a:xfrm>
            <a:off x="3528171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26" hasCustomPrompt="1"/>
          </p:nvPr>
        </p:nvSpPr>
        <p:spPr>
          <a:xfrm>
            <a:off x="6256548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27" hasCustomPrompt="1"/>
          </p:nvPr>
        </p:nvSpPr>
        <p:spPr>
          <a:xfrm>
            <a:off x="8984926" y="5256435"/>
            <a:ext cx="2411202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</p:spTree>
    <p:extLst>
      <p:ext uri="{BB962C8B-B14F-4D97-AF65-F5344CB8AC3E}">
        <p14:creationId xmlns:p14="http://schemas.microsoft.com/office/powerpoint/2010/main" val="2709863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327541" y="175068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8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327541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28"/>
          </p:nvPr>
        </p:nvSpPr>
        <p:spPr>
          <a:xfrm>
            <a:off x="2295495" y="2276958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29"/>
          </p:nvPr>
        </p:nvSpPr>
        <p:spPr>
          <a:xfrm>
            <a:off x="4263449" y="175068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30"/>
          </p:nvPr>
        </p:nvSpPr>
        <p:spPr>
          <a:xfrm>
            <a:off x="6231403" y="227695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31"/>
          </p:nvPr>
        </p:nvSpPr>
        <p:spPr>
          <a:xfrm>
            <a:off x="8199356" y="1750686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32"/>
          </p:nvPr>
        </p:nvSpPr>
        <p:spPr>
          <a:xfrm>
            <a:off x="10167311" y="2276957"/>
            <a:ext cx="1729191" cy="256419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33" hasCustomPrompt="1"/>
          </p:nvPr>
        </p:nvSpPr>
        <p:spPr>
          <a:xfrm>
            <a:off x="4263448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34" hasCustomPrompt="1"/>
          </p:nvPr>
        </p:nvSpPr>
        <p:spPr>
          <a:xfrm>
            <a:off x="8199355" y="448753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35" hasCustomPrompt="1"/>
          </p:nvPr>
        </p:nvSpPr>
        <p:spPr>
          <a:xfrm>
            <a:off x="2295495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36" hasCustomPrompt="1"/>
          </p:nvPr>
        </p:nvSpPr>
        <p:spPr>
          <a:xfrm>
            <a:off x="6231402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8" name="Text Placeholder 21"/>
          <p:cNvSpPr>
            <a:spLocks noGrp="1"/>
          </p:cNvSpPr>
          <p:nvPr>
            <p:ph type="body" sz="quarter" idx="37" hasCustomPrompt="1"/>
          </p:nvPr>
        </p:nvSpPr>
        <p:spPr>
          <a:xfrm>
            <a:off x="10167311" y="5019144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</p:spTree>
    <p:extLst>
      <p:ext uri="{BB962C8B-B14F-4D97-AF65-F5344CB8AC3E}">
        <p14:creationId xmlns:p14="http://schemas.microsoft.com/office/powerpoint/2010/main" val="2868802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2750376" y="1184300"/>
            <a:ext cx="3232421" cy="47933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209203" y="1184300"/>
            <a:ext cx="3232421" cy="47933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3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0" name="Text Placeholder 21"/>
          <p:cNvSpPr>
            <a:spLocks noGrp="1"/>
          </p:cNvSpPr>
          <p:nvPr>
            <p:ph type="body" sz="quarter" idx="35" hasCustomPrompt="1"/>
          </p:nvPr>
        </p:nvSpPr>
        <p:spPr>
          <a:xfrm>
            <a:off x="9619889" y="564661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36" hasCustomPrompt="1"/>
          </p:nvPr>
        </p:nvSpPr>
        <p:spPr>
          <a:xfrm>
            <a:off x="857936" y="5646612"/>
            <a:ext cx="1729191" cy="33100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67649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3032626" y="3426309"/>
            <a:ext cx="5097219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5097219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0" y="3426309"/>
            <a:ext cx="3032626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5097220" y="0"/>
            <a:ext cx="3032625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8465025" y="212237"/>
            <a:ext cx="3642893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8465024" y="826015"/>
            <a:ext cx="3443341" cy="1856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444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383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7094781" y="3426309"/>
            <a:ext cx="5097219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4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4062155" y="0"/>
            <a:ext cx="5097219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5" name="Picture Placeholder 5"/>
          <p:cNvSpPr>
            <a:spLocks noGrp="1"/>
          </p:cNvSpPr>
          <p:nvPr>
            <p:ph type="pic" sz="quarter" idx="19"/>
          </p:nvPr>
        </p:nvSpPr>
        <p:spPr>
          <a:xfrm>
            <a:off x="4062155" y="3426309"/>
            <a:ext cx="3032626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9159375" y="0"/>
            <a:ext cx="3032625" cy="3426308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6" y="212237"/>
            <a:ext cx="3546295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54687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39650" cy="3728417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905729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32651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66899" y="942656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466899" y="1455462"/>
            <a:ext cx="11258204" cy="1425857"/>
          </a:xfrm>
          <a:prstGeom prst="rect">
            <a:avLst/>
          </a:prstGeom>
        </p:spPr>
        <p:txBody>
          <a:bodyPr wrap="square" lIns="0" tIns="0" rIns="0" bIns="0" numCol="1" spcCol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3700583"/>
            <a:ext cx="12192000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72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20"/>
          </p:nvPr>
        </p:nvSpPr>
        <p:spPr>
          <a:xfrm>
            <a:off x="2401198" y="3426309"/>
            <a:ext cx="369128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21"/>
          </p:nvPr>
        </p:nvSpPr>
        <p:spPr>
          <a:xfrm>
            <a:off x="9790802" y="3426309"/>
            <a:ext cx="240119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9" name="Picture Placeholder 5"/>
          <p:cNvSpPr>
            <a:spLocks noGrp="1"/>
          </p:cNvSpPr>
          <p:nvPr>
            <p:ph type="pic" sz="quarter" idx="22"/>
          </p:nvPr>
        </p:nvSpPr>
        <p:spPr>
          <a:xfrm>
            <a:off x="9790802" y="-5384"/>
            <a:ext cx="240119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23"/>
          </p:nvPr>
        </p:nvSpPr>
        <p:spPr>
          <a:xfrm>
            <a:off x="0" y="3426309"/>
            <a:ext cx="240119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24"/>
          </p:nvPr>
        </p:nvSpPr>
        <p:spPr>
          <a:xfrm>
            <a:off x="0" y="0"/>
            <a:ext cx="369128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25"/>
          </p:nvPr>
        </p:nvSpPr>
        <p:spPr>
          <a:xfrm>
            <a:off x="3691288" y="-5384"/>
            <a:ext cx="2401198" cy="3431692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endParaRPr lang="en-US" sz="1088" i="1"/>
          </a:p>
          <a:p>
            <a:r>
              <a:rPr lang="en-US" sz="1088" i="1"/>
              <a:t>Click here to add picture</a:t>
            </a:r>
            <a:endParaRPr lang="en-US"/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583653" y="212237"/>
            <a:ext cx="2715981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368944" y="820279"/>
            <a:ext cx="3145399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  <p:sp>
        <p:nvSpPr>
          <p:cNvPr id="1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368945" y="1357992"/>
            <a:ext cx="3145398" cy="3728417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225938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6" y="212237"/>
            <a:ext cx="348933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434420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6" y="212237"/>
            <a:ext cx="3519379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519957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520245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946532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9659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497175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9746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911268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6" y="212237"/>
            <a:ext cx="3487485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88063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88349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1567618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78372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478949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79235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type="body" sz="quarter" idx="16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422661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6" y="212237"/>
            <a:ext cx="344616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820279"/>
            <a:ext cx="3446787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47070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881629" y="0"/>
            <a:ext cx="8310371" cy="685800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a picture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207842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207842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7" hasCustomPrompt="1"/>
          </p:nvPr>
        </p:nvSpPr>
        <p:spPr>
          <a:xfrm>
            <a:off x="8379848" y="820279"/>
            <a:ext cx="3489912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8379848" y="1348810"/>
            <a:ext cx="3490198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935518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1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2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982447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845086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4115673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1648" y="32651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l"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942656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455462"/>
            <a:ext cx="11258204" cy="1425857"/>
          </a:xfrm>
          <a:prstGeom prst="rect">
            <a:avLst/>
          </a:prstGeom>
        </p:spPr>
        <p:txBody>
          <a:bodyPr lIns="0" tIns="0" rIns="0" bIns="0" numCol="2" spcCol="18000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3700583"/>
            <a:ext cx="12192000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058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>
                <a:solidFill>
                  <a:schemeClr val="accent5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503299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4063539" y="-9074"/>
            <a:ext cx="4064922" cy="686707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234776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901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47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544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9319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8128461" y="-9073"/>
            <a:ext cx="4063539" cy="6867074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>
                <a:solidFill>
                  <a:schemeClr val="accent5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387240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4387100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9902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026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021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880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1648" y="3471829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l"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4087968"/>
            <a:ext cx="11258204" cy="18628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4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4600774"/>
            <a:ext cx="11258204" cy="1425857"/>
          </a:xfrm>
          <a:prstGeom prst="rect">
            <a:avLst/>
          </a:prstGeom>
        </p:spPr>
        <p:txBody>
          <a:bodyPr lIns="0" tIns="0" rIns="0" bIns="0" numCol="2" spcCol="180000"/>
          <a:lstStyle>
            <a:lvl1pPr algn="l"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6095751" cy="3157417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9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6096249" y="1"/>
            <a:ext cx="6095751" cy="3157417"/>
          </a:xfrm>
          <a:prstGeom prst="rect">
            <a:avLst/>
          </a:prstGeom>
          <a:solidFill>
            <a:schemeClr val="accent6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5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05033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rgbClr val="FFFFFF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rgbClr val="FFFFFF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rgbClr val="FFFFFF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2" y="-9073"/>
            <a:ext cx="4063539" cy="6867074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527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9074"/>
            <a:ext cx="4064922" cy="686707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922" y="-9073"/>
            <a:ext cx="4063539" cy="6867074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>
                <a:solidFill>
                  <a:schemeClr val="accent5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25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575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064231" y="-1"/>
            <a:ext cx="4063539" cy="3428427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84752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1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8475107" y="1348810"/>
            <a:ext cx="3417801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4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4064922" y="3428426"/>
            <a:ext cx="4063539" cy="3428427"/>
          </a:xfrm>
          <a:prstGeom prst="rect">
            <a:avLst/>
          </a:prstGeom>
          <a:solidFill>
            <a:schemeClr val="accent6"/>
          </a:solidFill>
        </p:spPr>
        <p:txBody>
          <a:bodyPr/>
          <a:lstStyle>
            <a:lvl1pPr algn="ctr">
              <a:defRPr sz="1088" b="0" i="1">
                <a:solidFill>
                  <a:schemeClr val="accent5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35110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3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91485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5335" y="6317610"/>
            <a:ext cx="1521331" cy="329789"/>
          </a:xfrm>
          <a:prstGeom prst="rect">
            <a:avLst/>
          </a:prstGeom>
        </p:spPr>
      </p:pic>
      <p:sp>
        <p:nvSpPr>
          <p:cNvPr id="8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4463501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8235517" y="1348809"/>
            <a:ext cx="3264998" cy="46202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</p:spTree>
    <p:extLst>
      <p:ext uri="{BB962C8B-B14F-4D97-AF65-F5344CB8AC3E}">
        <p14:creationId xmlns:p14="http://schemas.microsoft.com/office/powerpoint/2010/main" val="3082627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466899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ctr"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3370733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91485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4463501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8235517" y="1348809"/>
            <a:ext cx="3264998" cy="46202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074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91485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4463501" y="1348809"/>
            <a:ext cx="3264998" cy="4622531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8235517" y="1348809"/>
            <a:ext cx="3264998" cy="46202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3417158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>
                <a:solidFill>
                  <a:schemeClr val="bg1"/>
                </a:solidFill>
              </a:defRPr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12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8" y="820279"/>
            <a:ext cx="3417521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</p:spTree>
    <p:extLst>
      <p:ext uri="{BB962C8B-B14F-4D97-AF65-F5344CB8AC3E}">
        <p14:creationId xmlns:p14="http://schemas.microsoft.com/office/powerpoint/2010/main" val="1126171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632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7871" y="6317075"/>
            <a:ext cx="1516258" cy="328689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334933" y="2258718"/>
            <a:ext cx="7522135" cy="1249026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algn="ctr">
              <a:lnSpc>
                <a:spcPct val="100000"/>
              </a:lnSpc>
              <a:defRPr sz="9069" b="0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814" b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/>
              <a:t>ENTER TEXT HER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063040" y="4159099"/>
            <a:ext cx="4065920" cy="15519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1632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Enter text here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4063040" y="1974132"/>
            <a:ext cx="4065920" cy="187859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ct val="100000"/>
              </a:lnSpc>
              <a:defRPr sz="1632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Enter text here</a:t>
            </a:r>
          </a:p>
        </p:txBody>
      </p:sp>
    </p:spTree>
    <p:extLst>
      <p:ext uri="{BB962C8B-B14F-4D97-AF65-F5344CB8AC3E}">
        <p14:creationId xmlns:p14="http://schemas.microsoft.com/office/powerpoint/2010/main" val="378127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444" y="6317610"/>
            <a:ext cx="1521331" cy="329789"/>
          </a:xfrm>
          <a:prstGeom prst="rect">
            <a:avLst/>
          </a:prstGeom>
        </p:spPr>
      </p:pic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656894" y="974355"/>
            <a:ext cx="5091238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656894" y="1502886"/>
            <a:ext cx="5091656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211647" y="974354"/>
            <a:ext cx="6118748" cy="5883646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46650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656894" y="974355"/>
            <a:ext cx="5091238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656894" y="1502886"/>
            <a:ext cx="5091656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8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" y="974355"/>
            <a:ext cx="6330394" cy="5016739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491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212225" y="212237"/>
            <a:ext cx="1125820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211647" y="974355"/>
            <a:ext cx="5091238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6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11648" y="1502886"/>
            <a:ext cx="5091656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sp>
        <p:nvSpPr>
          <p:cNvPr id="7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5852074" y="974355"/>
            <a:ext cx="6330394" cy="5016739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47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753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Cop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5751" cy="6858000"/>
          </a:xfrm>
          <a:prstGeom prst="rect">
            <a:avLst/>
          </a:prstGeom>
          <a:solidFill>
            <a:schemeClr val="accent5"/>
          </a:solidFill>
        </p:spPr>
        <p:txBody>
          <a:bodyPr anchor="t" anchorCtr="0"/>
          <a:lstStyle>
            <a:lvl1pPr algn="ctr">
              <a:defRPr sz="1088" b="0" i="1" baseline="0">
                <a:solidFill>
                  <a:schemeClr val="accent6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Click here to add picture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6503876" y="212237"/>
            <a:ext cx="5450534" cy="2723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z="2539"/>
            </a:lvl1pPr>
          </a:lstStyle>
          <a:p>
            <a:r>
              <a:rPr lang="en-US"/>
              <a:t>ENTER HEADER TEXT</a:t>
            </a:r>
          </a:p>
        </p:txBody>
      </p:sp>
      <p:sp>
        <p:nvSpPr>
          <p:cNvPr id="7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503876" y="820279"/>
            <a:ext cx="5450534" cy="20201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1" baseline="0">
                <a:solidFill>
                  <a:schemeClr val="bg1"/>
                </a:solidFill>
              </a:defRPr>
            </a:lvl1pPr>
            <a:lvl2pPr>
              <a:defRPr sz="1088" b="0" baseline="0"/>
            </a:lvl2pPr>
          </a:lstStyle>
          <a:p>
            <a:pPr lvl="0"/>
            <a:r>
              <a:rPr lang="en-US"/>
              <a:t>Sub header (Arial, 12pt, Bold)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6503876" y="1348810"/>
            <a:ext cx="5450982" cy="620574"/>
          </a:xfrm>
          <a:prstGeom prst="rect">
            <a:avLst/>
          </a:prstGeom>
        </p:spPr>
        <p:txBody>
          <a:bodyPr lIns="0" tIns="0" rIns="0" bIns="0"/>
          <a:lstStyle>
            <a:lvl1pPr>
              <a:defRPr sz="1088" b="0" baseline="0">
                <a:solidFill>
                  <a:schemeClr val="bg1"/>
                </a:solidFill>
              </a:defRPr>
            </a:lvl1pPr>
            <a:lvl2pPr>
              <a:defRPr sz="1088" b="0">
                <a:solidFill>
                  <a:schemeClr val="bg1"/>
                </a:solidFill>
              </a:defRPr>
            </a:lvl2pPr>
            <a:lvl3pPr>
              <a:defRPr sz="1088" b="0">
                <a:solidFill>
                  <a:schemeClr val="bg1"/>
                </a:solidFill>
              </a:defRPr>
            </a:lvl3pPr>
            <a:lvl4pPr>
              <a:defRPr sz="1088" b="0">
                <a:solidFill>
                  <a:schemeClr val="bg1"/>
                </a:solidFill>
              </a:defRPr>
            </a:lvl4pPr>
            <a:lvl5pPr>
              <a:defRPr sz="1088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(Arial, 12pt, Normal)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444" y="6317610"/>
            <a:ext cx="1521331" cy="329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554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61" Type="http://schemas.openxmlformats.org/officeDocument/2006/relationships/image" Target="../media/image1.emf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ags" Target="../tags/tag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59"/>
            </p:custDataLst>
          </p:nvPr>
        </p:nvGraphicFramePr>
        <p:xfrm>
          <a:off x="1952" y="1588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60" imgW="6350000" imgH="6350000" progId="">
                  <p:embed/>
                </p:oleObj>
              </mc:Choice>
              <mc:Fallback>
                <p:oleObj name="think-cell Slide" r:id="rId60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2" y="1588"/>
                        <a:ext cx="1954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38557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872296" rtl="0" eaLnBrk="1" latinLnBrk="0" hangingPunct="1">
        <a:spcBef>
          <a:spcPct val="0"/>
        </a:spcBef>
        <a:buNone/>
        <a:defRPr sz="3446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87229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632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7229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632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87229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27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87229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27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872296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907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398818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6pPr>
      <a:lvl7pPr marL="2834967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7pPr>
      <a:lvl8pPr marL="3271116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8pPr>
      <a:lvl9pPr marL="3707264" indent="-218075" algn="l" defTabSz="872296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7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1pPr>
      <a:lvl2pPr marL="436149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2pPr>
      <a:lvl3pPr marL="872296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3pPr>
      <a:lvl4pPr marL="1308447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4pPr>
      <a:lvl5pPr marL="1744595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5pPr>
      <a:lvl6pPr marL="2180744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6pPr>
      <a:lvl7pPr marL="2616892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7pPr>
      <a:lvl8pPr marL="3053041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8pPr>
      <a:lvl9pPr marL="3489187" algn="l" defTabSz="872296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.png"/><Relationship Id="rId5" Type="http://schemas.openxmlformats.org/officeDocument/2006/relationships/image" Target="../media/image6.jpeg"/><Relationship Id="rId4" Type="http://schemas.openxmlformats.org/officeDocument/2006/relationships/hyperlink" Target="https://www.dcm.co.uk/cinemapp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8BE20B-F96D-98C6-CDCB-A8F848C20C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Deadpool - NHS Blood Donation">
            <a:extLst>
              <a:ext uri="{FF2B5EF4-FFF2-40B4-BE49-F238E27FC236}">
                <a16:creationId xmlns:a16="http://schemas.microsoft.com/office/drawing/2014/main" id="{ABC5497A-FB9A-DBEB-AEF4-DAADF791E9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7400" b="98400" l="1300" r="96600">
                        <a14:foregroundMark x1="9800" y1="74600" x2="10300" y2="79800"/>
                        <a14:foregroundMark x1="14900" y1="93400" x2="23100" y2="94600"/>
                        <a14:foregroundMark x1="84800" y1="11400" x2="85300" y2="7400"/>
                        <a14:foregroundMark x1="92400" y1="95800" x2="96600" y2="98400"/>
                        <a14:foregroundMark x1="4400" y1="93000" x2="7000" y2="93400"/>
                        <a14:foregroundMark x1="5100" y1="94800" x2="1300" y2="938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20279"/>
            <a:ext cx="12192000" cy="60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17A1E8F-230C-497F-13D5-6024E604D0B2}"/>
              </a:ext>
            </a:extLst>
          </p:cNvPr>
          <p:cNvSpPr/>
          <p:nvPr/>
        </p:nvSpPr>
        <p:spPr>
          <a:xfrm>
            <a:off x="0" y="58279"/>
            <a:ext cx="12192000" cy="6858000"/>
          </a:xfrm>
          <a:prstGeom prst="rect">
            <a:avLst/>
          </a:prstGeom>
          <a:solidFill>
            <a:srgbClr val="000000">
              <a:alpha val="31000"/>
            </a:srgb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6C8DC2-D609-BEA6-CBB1-F8F171EBA6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334932" y="3035471"/>
            <a:ext cx="7522135" cy="853113"/>
          </a:xfrm>
        </p:spPr>
        <p:txBody>
          <a:bodyPr/>
          <a:lstStyle/>
          <a:p>
            <a:r>
              <a:rPr lang="en-GB" sz="6000" dirty="0">
                <a:latin typeface="Impact"/>
              </a:rPr>
              <a:t>NHSBT X DEADPOOL &amp; WOLVER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485B95-445F-54C9-4E15-CAA17220C58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/>
              <a:t>FILM PARTNERSHIP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1BC02D5-ABF7-01FA-A874-80B12ACB72D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7871" y="6317075"/>
            <a:ext cx="1516258" cy="32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249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4" descr="Deadpool - NHS Blood Donation">
            <a:extLst>
              <a:ext uri="{FF2B5EF4-FFF2-40B4-BE49-F238E27FC236}">
                <a16:creationId xmlns:a16="http://schemas.microsoft.com/office/drawing/2014/main" id="{DC38C45B-AB82-FEB3-0CB7-2EC8EB1676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7400" b="98400" l="1300" r="96600">
                        <a14:foregroundMark x1="9800" y1="74600" x2="10300" y2="79800"/>
                        <a14:foregroundMark x1="14900" y1="93400" x2="23100" y2="94600"/>
                        <a14:foregroundMark x1="84800" y1="11400" x2="85300" y2="7400"/>
                        <a14:foregroundMark x1="92400" y1="95800" x2="96600" y2="98400"/>
                        <a14:foregroundMark x1="4400" y1="93000" x2="7000" y2="93400"/>
                        <a14:foregroundMark x1="5100" y1="94800" x2="1300" y2="938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20279"/>
            <a:ext cx="12192000" cy="60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05BBE36-3C6D-AA21-1F10-140F22D7B4AC}"/>
              </a:ext>
            </a:extLst>
          </p:cNvPr>
          <p:cNvSpPr/>
          <p:nvPr/>
        </p:nvSpPr>
        <p:spPr>
          <a:xfrm>
            <a:off x="0" y="58279"/>
            <a:ext cx="12192000" cy="6858000"/>
          </a:xfrm>
          <a:prstGeom prst="rect">
            <a:avLst/>
          </a:prstGeom>
          <a:solidFill>
            <a:srgbClr val="000000">
              <a:alpha val="31000"/>
            </a:srgb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0C7E3E3-C164-0683-41A9-6803C166D54F}"/>
              </a:ext>
            </a:extLst>
          </p:cNvPr>
          <p:cNvSpPr/>
          <p:nvPr/>
        </p:nvSpPr>
        <p:spPr>
          <a:xfrm flipH="1">
            <a:off x="5590988" y="0"/>
            <a:ext cx="6601011" cy="6916279"/>
          </a:xfrm>
          <a:prstGeom prst="rect">
            <a:avLst/>
          </a:prstGeom>
          <a:gradFill flip="none" rotWithShape="1">
            <a:gsLst>
              <a:gs pos="40000">
                <a:schemeClr val="bg1"/>
              </a:gs>
              <a:gs pos="54000">
                <a:schemeClr val="bg1">
                  <a:alpha val="68000"/>
                </a:schemeClr>
              </a:gs>
              <a:gs pos="77000">
                <a:schemeClr val="bg1">
                  <a:alpha val="39720"/>
                </a:schemeClr>
              </a:gs>
              <a:gs pos="100000">
                <a:schemeClr val="bg1">
                  <a:lumMod val="75000"/>
                  <a:lumOff val="25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7E7041-251A-5497-9AA8-95E47B503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HSBT X DEADPOO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64D0EA-A7F0-363A-D235-1CE7FA9D89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/>
              <a:t>Film Partnership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D9BFBE39-3DB2-2039-FC48-3BEAB0FEED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1198" y="1063107"/>
            <a:ext cx="6272785" cy="4688666"/>
          </a:xfrm>
        </p:spPr>
        <p:txBody>
          <a:bodyPr lIns="0" tIns="0" rIns="0" bIns="0" anchor="t"/>
          <a:lstStyle/>
          <a:p>
            <a:r>
              <a:rPr lang="en-US" sz="1050" b="1" dirty="0">
                <a:solidFill>
                  <a:schemeClr val="accent2"/>
                </a:solidFill>
              </a:rPr>
              <a:t>Background</a:t>
            </a:r>
          </a:p>
          <a:p>
            <a:endParaRPr lang="en-US" sz="1050" dirty="0"/>
          </a:p>
          <a:p>
            <a:r>
              <a:rPr lang="en-GB" sz="1050" b="0" i="0" dirty="0">
                <a:effectLst/>
              </a:rPr>
              <a:t>NHS Blood and Transplant have teamed up with two of Marvel’s most-loved superheroes in the new </a:t>
            </a:r>
            <a:r>
              <a:rPr lang="en-GB" sz="1050" b="0" i="1" dirty="0">
                <a:effectLst/>
              </a:rPr>
              <a:t>Deadpool &amp; Wolverine</a:t>
            </a:r>
            <a:r>
              <a:rPr lang="en-GB" sz="1050" b="0" i="0" dirty="0">
                <a:effectLst/>
              </a:rPr>
              <a:t> blockbuster hit, to encourage and inspire potential blood donors to sign up to give blood and save lives.</a:t>
            </a:r>
            <a:br>
              <a:rPr lang="en-GB" sz="1050" b="0" i="0" dirty="0">
                <a:effectLst/>
              </a:rPr>
            </a:br>
            <a:endParaRPr lang="en-US" sz="1050" dirty="0"/>
          </a:p>
          <a:p>
            <a:r>
              <a:rPr lang="en-US" sz="1050" dirty="0">
                <a:solidFill>
                  <a:srgbClr val="C00000"/>
                </a:solidFill>
              </a:rPr>
              <a:t>Idea </a:t>
            </a:r>
          </a:p>
          <a:p>
            <a:endParaRPr lang="en-US" sz="1050" dirty="0">
              <a:solidFill>
                <a:srgbClr val="C00000"/>
              </a:solidFill>
            </a:endParaRPr>
          </a:p>
          <a:p>
            <a:pPr algn="l">
              <a:buNone/>
            </a:pPr>
            <a:r>
              <a:rPr lang="en-GB" sz="1050" b="0" i="0" dirty="0">
                <a:effectLst/>
              </a:rPr>
              <a:t>At the centre of this partnership is a 30” cobranded advert, in which </a:t>
            </a:r>
            <a:r>
              <a:rPr lang="en-GB" sz="1050" b="0" i="1" dirty="0">
                <a:effectLst/>
              </a:rPr>
              <a:t>Deadpool &amp; Wolverine</a:t>
            </a:r>
            <a:r>
              <a:rPr lang="en-GB" sz="1050" b="0" i="0" dirty="0">
                <a:effectLst/>
              </a:rPr>
              <a:t> stars Ryan Reynolds and Hugh Jackman encourage potential donors to sign up to donate blood, in their own cheeky and charming manner.</a:t>
            </a:r>
            <a:br>
              <a:rPr lang="en-GB" sz="1050" b="0" i="0" dirty="0">
                <a:effectLst/>
              </a:rPr>
            </a:br>
            <a:endParaRPr lang="en-GB" sz="1050" b="0" i="0" dirty="0">
              <a:effectLst/>
            </a:endParaRPr>
          </a:p>
          <a:p>
            <a:pPr algn="l">
              <a:buNone/>
            </a:pPr>
            <a:r>
              <a:rPr lang="en-GB" sz="1050" b="0" i="0" dirty="0">
                <a:effectLst/>
              </a:rPr>
              <a:t>This 30” cobranded advert ran ahead of all 12A+ titles at Cineworld and Vue cinemas located within a 25-minute drive from a blood donor centre. DCM’s proximity planning </a:t>
            </a:r>
            <a:r>
              <a:rPr lang="en-GB" sz="1050" b="1" i="0" u="none" strike="noStrike" dirty="0" err="1">
                <a:effectLst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inemapper</a:t>
            </a:r>
            <a:r>
              <a:rPr lang="en-GB" sz="1050" b="0" i="0" dirty="0">
                <a:effectLst/>
              </a:rPr>
              <a:t> tool was used to identify these locations, in order for NHS Blood and Transplant’s campaign to target ideal customers and maximise impact.</a:t>
            </a:r>
            <a:br>
              <a:rPr lang="en-GB" sz="1050" b="0" i="0" dirty="0">
                <a:effectLst/>
              </a:rPr>
            </a:br>
            <a:endParaRPr lang="en-GB" sz="1050" b="0" i="0" dirty="0">
              <a:effectLst/>
            </a:endParaRPr>
          </a:p>
          <a:p>
            <a:pPr algn="l">
              <a:buNone/>
            </a:pPr>
            <a:r>
              <a:rPr lang="en-GB" sz="1050" b="0" i="0" dirty="0">
                <a:effectLst/>
              </a:rPr>
              <a:t>In addition to the 30” cobranded advert, the cinema partnership included in-foyer digital 6-sheets across targeted cinemas. Online elements also played a key part in this partnership, with a media-first booking confirmation page takeover, and organic and paid activity across social media.</a:t>
            </a:r>
          </a:p>
          <a:p>
            <a:pPr algn="l">
              <a:buNone/>
            </a:pPr>
            <a:br>
              <a:rPr lang="en-GB" sz="1050" b="0" i="0" dirty="0">
                <a:effectLst/>
              </a:rPr>
            </a:br>
            <a:r>
              <a:rPr lang="en-GB" sz="1050" b="0" i="0" dirty="0">
                <a:effectLst/>
              </a:rPr>
              <a:t>The booking confirmation page was a highly valuable touchpoint, capturing cinemagoers' attention at a moment when they’re already emotionally invested in their upcoming </a:t>
            </a:r>
            <a:r>
              <a:rPr lang="en-GB" sz="1050" b="0" i="0">
                <a:effectLst/>
              </a:rPr>
              <a:t>cinema trip</a:t>
            </a:r>
            <a:r>
              <a:rPr lang="en-GB" sz="1100"/>
              <a:t>. </a:t>
            </a:r>
            <a:endParaRPr lang="en-GB" sz="1100" dirty="0"/>
          </a:p>
          <a:p>
            <a:pPr algn="l">
              <a:buNone/>
            </a:pPr>
            <a:endParaRPr lang="en-GB" sz="1050" b="0" i="0" dirty="0">
              <a:effectLst/>
            </a:endParaRPr>
          </a:p>
          <a:p>
            <a:endParaRPr lang="en-US" sz="1050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1030" name="Picture 6" descr="NHS Logo and symbol, meaning, history, PNG, brand">
            <a:extLst>
              <a:ext uri="{FF2B5EF4-FFF2-40B4-BE49-F238E27FC236}">
                <a16:creationId xmlns:a16="http://schemas.microsoft.com/office/drawing/2014/main" id="{F2106F48-6955-5CEF-31DE-27B85313E9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05261" y="6249822"/>
            <a:ext cx="1330335" cy="608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AEA5A30-3F2C-9308-62F8-D4A152F2E3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6180416"/>
              </p:ext>
            </p:extLst>
          </p:nvPr>
        </p:nvGraphicFramePr>
        <p:xfrm>
          <a:off x="211199" y="4915236"/>
          <a:ext cx="6096249" cy="122347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829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10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710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7108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42628">
                <a:tc gridSpan="2"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dirty="0">
                          <a:solidFill>
                            <a:schemeClr val="accent2"/>
                          </a:solidFill>
                        </a:rPr>
                        <a:t>Campaign Details</a:t>
                      </a:r>
                    </a:p>
                  </a:txBody>
                  <a:tcPr marL="82931" marR="82931" marT="41465" marB="41465" anchor="ctr">
                    <a:lnL>
                      <a:noFill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en-US" sz="900" b="0">
                        <a:solidFill>
                          <a:schemeClr val="bg1"/>
                        </a:solidFill>
                      </a:endParaRPr>
                    </a:p>
                  </a:txBody>
                  <a:tcPr marL="28800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b="1">
                        <a:solidFill>
                          <a:schemeClr val="accent2"/>
                        </a:solidFill>
                      </a:endParaRPr>
                    </a:p>
                  </a:txBody>
                  <a:tcPr marL="82931" marR="82931" marT="41465" marB="41465" anchor="ctr">
                    <a:lnL>
                      <a:noFill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b="1">
                        <a:solidFill>
                          <a:schemeClr val="accent2"/>
                        </a:solidFill>
                      </a:endParaRPr>
                    </a:p>
                  </a:txBody>
                  <a:tcPr marL="82931" marR="82931" marT="41465" marB="41465" anchor="ctr">
                    <a:lnL>
                      <a:noFill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90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>
                          <a:solidFill>
                            <a:srgbClr val="FFFFFF"/>
                          </a:solidFill>
                        </a:rPr>
                        <a:t>Sector</a:t>
                      </a:r>
                    </a:p>
                  </a:txBody>
                  <a:tcPr marL="82931" marR="82931" marT="41465" marB="41465"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0">
                          <a:solidFill>
                            <a:srgbClr val="FFFFFF"/>
                          </a:solidFill>
                        </a:rPr>
                        <a:t>Public Sector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rgbClr val="FFFFFF"/>
                          </a:solidFill>
                        </a:rPr>
                        <a:t>Media Agency</a:t>
                      </a:r>
                    </a:p>
                  </a:txBody>
                  <a:tcPr marL="82931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0" dirty="0">
                          <a:solidFill>
                            <a:srgbClr val="FFFFFF"/>
                          </a:solidFill>
                        </a:rPr>
                        <a:t>MGOMD/Omnicom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990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>
                          <a:solidFill>
                            <a:srgbClr val="FFFFFF"/>
                          </a:solidFill>
                        </a:rPr>
                        <a:t>Target Audience</a:t>
                      </a:r>
                    </a:p>
                  </a:txBody>
                  <a:tcPr marL="82931" marR="82931" marT="41465" marB="41465"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>
                          <a:solidFill>
                            <a:srgbClr val="FFFFFF"/>
                          </a:solidFill>
                        </a:rPr>
                        <a:t>17-24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>
                          <a:solidFill>
                            <a:srgbClr val="FFFFFF"/>
                          </a:solidFill>
                        </a:rPr>
                        <a:t>Creative Agency</a:t>
                      </a:r>
                    </a:p>
                  </a:txBody>
                  <a:tcPr marL="82931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0">
                          <a:solidFill>
                            <a:srgbClr val="FFFFFF"/>
                          </a:solidFill>
                        </a:rPr>
                        <a:t>DCM Studios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104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 dirty="0">
                          <a:solidFill>
                            <a:srgbClr val="FFFFFF"/>
                          </a:solidFill>
                        </a:rPr>
                        <a:t>Package</a:t>
                      </a:r>
                    </a:p>
                  </a:txBody>
                  <a:tcPr marL="82931" marR="82931" marT="41465" marB="41465" anchor="ctr">
                    <a:lnL>
                      <a:noFill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0" i="0" baseline="0">
                          <a:solidFill>
                            <a:srgbClr val="FFFFFF"/>
                          </a:solidFill>
                        </a:rPr>
                        <a:t>Digi Screens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100" b="1">
                          <a:solidFill>
                            <a:srgbClr val="FFFFFF"/>
                          </a:solidFill>
                        </a:rPr>
                        <a:t>Duration</a:t>
                      </a:r>
                    </a:p>
                  </a:txBody>
                  <a:tcPr marL="82931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kern="1200" dirty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8 weeks </a:t>
                      </a:r>
                    </a:p>
                  </a:txBody>
                  <a:tcPr marL="261200" marR="82931" marT="41465" marB="41465" anchor="ctr">
                    <a:lnL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E792186-F9F4-74B3-5845-9F83DE380B88}"/>
              </a:ext>
            </a:extLst>
          </p:cNvPr>
          <p:cNvCxnSpPr>
            <a:cxnSpLocks/>
          </p:cNvCxnSpPr>
          <p:nvPr/>
        </p:nvCxnSpPr>
        <p:spPr>
          <a:xfrm>
            <a:off x="0" y="647984"/>
            <a:ext cx="3189249" cy="0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2DCFB615-DAA0-55A9-E88D-D6C058EA710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199" y="6317074"/>
            <a:ext cx="1516258" cy="328689"/>
          </a:xfrm>
          <a:prstGeom prst="rect">
            <a:avLst/>
          </a:prstGeom>
        </p:spPr>
      </p:pic>
      <p:pic>
        <p:nvPicPr>
          <p:cNvPr id="10" name="Picture Placeholder 24" descr="A screenshot of a web page&#10;&#10;Description automatically generated">
            <a:extLst>
              <a:ext uri="{FF2B5EF4-FFF2-40B4-BE49-F238E27FC236}">
                <a16:creationId xmlns:a16="http://schemas.microsoft.com/office/drawing/2014/main" id="{22F24E68-9EB5-2987-6E87-97432E2D9DA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2" r="2312"/>
          <a:stretch>
            <a:fillRect/>
          </a:stretch>
        </p:blipFill>
        <p:spPr>
          <a:xfrm>
            <a:off x="7933395" y="473890"/>
            <a:ext cx="3752021" cy="5563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541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35F174-4106-4D07-964D-DD66A52DE9D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8</TotalTime>
  <Words>254</Words>
  <Application>Microsoft Office PowerPoint</Application>
  <PresentationFormat>Widescreen</PresentationFormat>
  <Paragraphs>31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Impact</vt:lpstr>
      <vt:lpstr>Wingdings</vt:lpstr>
      <vt:lpstr>COPY SLIDES</vt:lpstr>
      <vt:lpstr>think-cell Slide</vt:lpstr>
      <vt:lpstr>PowerPoint Presentation</vt:lpstr>
      <vt:lpstr>NHSBT X DEADPOO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elia Radford</dc:creator>
  <cp:lastModifiedBy>Mia Blakeney</cp:lastModifiedBy>
  <cp:revision>9</cp:revision>
  <dcterms:created xsi:type="dcterms:W3CDTF">2025-03-11T11:16:12Z</dcterms:created>
  <dcterms:modified xsi:type="dcterms:W3CDTF">2025-04-03T10:03:45Z</dcterms:modified>
</cp:coreProperties>
</file>